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86" d="100"/>
          <a:sy n="86" d="100"/>
        </p:scale>
        <p:origin x="8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D$2:$D$257</c:f>
              <c:numCache>
                <c:formatCode>#,##0</c:formatCode>
                <c:ptCount val="256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19</c:v>
                </c:pt>
                <c:pt idx="189">
                  <c:v>908</c:v>
                </c:pt>
                <c:pt idx="190">
                  <c:v>915</c:v>
                </c:pt>
                <c:pt idx="191">
                  <c:v>916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2</c:v>
                </c:pt>
                <c:pt idx="209">
                  <c:v>866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3</c:v>
                </c:pt>
                <c:pt idx="227">
                  <c:v>518</c:v>
                </c:pt>
                <c:pt idx="228">
                  <c:v>490</c:v>
                </c:pt>
                <c:pt idx="229">
                  <c:v>495</c:v>
                </c:pt>
                <c:pt idx="230">
                  <c:v>492</c:v>
                </c:pt>
                <c:pt idx="231">
                  <c:v>476</c:v>
                </c:pt>
                <c:pt idx="232">
                  <c:v>464</c:v>
                </c:pt>
                <c:pt idx="233">
                  <c:v>418</c:v>
                </c:pt>
                <c:pt idx="234">
                  <c:v>401</c:v>
                </c:pt>
                <c:pt idx="235">
                  <c:v>377</c:v>
                </c:pt>
                <c:pt idx="236">
                  <c:v>371</c:v>
                </c:pt>
                <c:pt idx="237">
                  <c:v>361</c:v>
                </c:pt>
                <c:pt idx="238">
                  <c:v>359</c:v>
                </c:pt>
                <c:pt idx="239">
                  <c:v>333</c:v>
                </c:pt>
                <c:pt idx="240">
                  <c:v>303</c:v>
                </c:pt>
                <c:pt idx="241">
                  <c:v>278</c:v>
                </c:pt>
                <c:pt idx="242">
                  <c:v>263</c:v>
                </c:pt>
                <c:pt idx="243" formatCode="General">
                  <c:v>269</c:v>
                </c:pt>
                <c:pt idx="244" formatCode="General">
                  <c:v>266</c:v>
                </c:pt>
                <c:pt idx="245" formatCode="General">
                  <c:v>255</c:v>
                </c:pt>
                <c:pt idx="246" formatCode="General">
                  <c:v>237</c:v>
                </c:pt>
                <c:pt idx="247" formatCode="General">
                  <c:v>221</c:v>
                </c:pt>
                <c:pt idx="248" formatCode="General">
                  <c:v>205</c:v>
                </c:pt>
                <c:pt idx="249" formatCode="General">
                  <c:v>188</c:v>
                </c:pt>
                <c:pt idx="250" formatCode="General">
                  <c:v>187</c:v>
                </c:pt>
                <c:pt idx="251" formatCode="General">
                  <c:v>189</c:v>
                </c:pt>
                <c:pt idx="252" formatCode="General">
                  <c:v>168</c:v>
                </c:pt>
                <c:pt idx="253" formatCode="General">
                  <c:v>155</c:v>
                </c:pt>
                <c:pt idx="254" formatCode="General">
                  <c:v>155</c:v>
                </c:pt>
                <c:pt idx="255" formatCode="General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7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B$2:$B$257</c:f>
              <c:numCache>
                <c:formatCode>#,##0</c:formatCode>
                <c:ptCount val="256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  <c:pt idx="246" formatCode="General">
                  <c:v>625</c:v>
                </c:pt>
                <c:pt idx="247" formatCode="General">
                  <c:v>645</c:v>
                </c:pt>
                <c:pt idx="248" formatCode="General">
                  <c:v>650</c:v>
                </c:pt>
                <c:pt idx="249" formatCode="General">
                  <c:v>639</c:v>
                </c:pt>
                <c:pt idx="250" formatCode="General">
                  <c:v>643</c:v>
                </c:pt>
                <c:pt idx="251" formatCode="General">
                  <c:v>651</c:v>
                </c:pt>
                <c:pt idx="252" formatCode="General">
                  <c:v>663</c:v>
                </c:pt>
                <c:pt idx="253" formatCode="General">
                  <c:v>669</c:v>
                </c:pt>
                <c:pt idx="254" formatCode="General">
                  <c:v>662</c:v>
                </c:pt>
                <c:pt idx="255" formatCode="General">
                  <c:v>6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C$2:$C$257</c:f>
              <c:numCache>
                <c:formatCode>#,##0</c:formatCode>
                <c:ptCount val="25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D$2:$D$257</c:f>
              <c:numCache>
                <c:formatCode>#,##0</c:formatCode>
                <c:ptCount val="256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5</c:v>
                </c:pt>
                <c:pt idx="78">
                  <c:v>2442</c:v>
                </c:pt>
                <c:pt idx="79">
                  <c:v>2363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7</c:v>
                </c:pt>
                <c:pt idx="84">
                  <c:v>2096</c:v>
                </c:pt>
                <c:pt idx="85">
                  <c:v>2022</c:v>
                </c:pt>
                <c:pt idx="86">
                  <c:v>1932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2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10</c:v>
                </c:pt>
                <c:pt idx="160">
                  <c:v>2473</c:v>
                </c:pt>
                <c:pt idx="161">
                  <c:v>2489</c:v>
                </c:pt>
                <c:pt idx="162">
                  <c:v>2420</c:v>
                </c:pt>
                <c:pt idx="163">
                  <c:v>2453</c:v>
                </c:pt>
                <c:pt idx="164">
                  <c:v>2405</c:v>
                </c:pt>
                <c:pt idx="165">
                  <c:v>2471</c:v>
                </c:pt>
                <c:pt idx="166">
                  <c:v>2589</c:v>
                </c:pt>
                <c:pt idx="167">
                  <c:v>2622</c:v>
                </c:pt>
                <c:pt idx="168">
                  <c:v>2652</c:v>
                </c:pt>
                <c:pt idx="169">
                  <c:v>2716</c:v>
                </c:pt>
                <c:pt idx="170">
                  <c:v>2756</c:v>
                </c:pt>
                <c:pt idx="171">
                  <c:v>2678</c:v>
                </c:pt>
                <c:pt idx="172">
                  <c:v>2686</c:v>
                </c:pt>
                <c:pt idx="173">
                  <c:v>2807</c:v>
                </c:pt>
                <c:pt idx="174">
                  <c:v>3000</c:v>
                </c:pt>
                <c:pt idx="175">
                  <c:v>3018</c:v>
                </c:pt>
                <c:pt idx="176">
                  <c:v>3029</c:v>
                </c:pt>
                <c:pt idx="177">
                  <c:v>3040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3</c:v>
                </c:pt>
                <c:pt idx="182">
                  <c:v>3618</c:v>
                </c:pt>
                <c:pt idx="183">
                  <c:v>3594</c:v>
                </c:pt>
                <c:pt idx="184">
                  <c:v>3678</c:v>
                </c:pt>
                <c:pt idx="185">
                  <c:v>3706</c:v>
                </c:pt>
                <c:pt idx="186">
                  <c:v>3785</c:v>
                </c:pt>
                <c:pt idx="187">
                  <c:v>3874</c:v>
                </c:pt>
                <c:pt idx="188">
                  <c:v>3926</c:v>
                </c:pt>
                <c:pt idx="189">
                  <c:v>3941</c:v>
                </c:pt>
                <c:pt idx="190">
                  <c:v>3955</c:v>
                </c:pt>
                <c:pt idx="191">
                  <c:v>3923</c:v>
                </c:pt>
                <c:pt idx="192">
                  <c:v>3859</c:v>
                </c:pt>
                <c:pt idx="193">
                  <c:v>3972</c:v>
                </c:pt>
                <c:pt idx="194">
                  <c:v>4040</c:v>
                </c:pt>
                <c:pt idx="195">
                  <c:v>4183</c:v>
                </c:pt>
                <c:pt idx="196">
                  <c:v>4101</c:v>
                </c:pt>
                <c:pt idx="197">
                  <c:v>4022</c:v>
                </c:pt>
                <c:pt idx="198">
                  <c:v>3994</c:v>
                </c:pt>
                <c:pt idx="199">
                  <c:v>3792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1</c:v>
                </c:pt>
                <c:pt idx="204">
                  <c:v>3538</c:v>
                </c:pt>
                <c:pt idx="207">
                  <c:v>3355</c:v>
                </c:pt>
                <c:pt idx="208">
                  <c:v>3384</c:v>
                </c:pt>
                <c:pt idx="209">
                  <c:v>3357</c:v>
                </c:pt>
                <c:pt idx="210">
                  <c:v>3282</c:v>
                </c:pt>
                <c:pt idx="211">
                  <c:v>3146</c:v>
                </c:pt>
                <c:pt idx="212">
                  <c:v>2998</c:v>
                </c:pt>
                <c:pt idx="213">
                  <c:v>2812</c:v>
                </c:pt>
                <c:pt idx="214">
                  <c:v>2769</c:v>
                </c:pt>
                <c:pt idx="215">
                  <c:v>2830</c:v>
                </c:pt>
                <c:pt idx="216">
                  <c:v>2843</c:v>
                </c:pt>
                <c:pt idx="217">
                  <c:v>3041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30</c:v>
                </c:pt>
                <c:pt idx="224">
                  <c:v>2234</c:v>
                </c:pt>
                <c:pt idx="225">
                  <c:v>2104</c:v>
                </c:pt>
                <c:pt idx="226">
                  <c:v>1927</c:v>
                </c:pt>
                <c:pt idx="227">
                  <c:v>1780</c:v>
                </c:pt>
                <c:pt idx="228">
                  <c:v>1746</c:v>
                </c:pt>
                <c:pt idx="229">
                  <c:v>1753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50</c:v>
                </c:pt>
                <c:pt idx="237">
                  <c:v>1298</c:v>
                </c:pt>
                <c:pt idx="238">
                  <c:v>1276</c:v>
                </c:pt>
                <c:pt idx="239">
                  <c:v>1235</c:v>
                </c:pt>
                <c:pt idx="240">
                  <c:v>1181</c:v>
                </c:pt>
                <c:pt idx="241">
                  <c:v>1135</c:v>
                </c:pt>
                <c:pt idx="242">
                  <c:v>1141</c:v>
                </c:pt>
                <c:pt idx="243">
                  <c:v>1134</c:v>
                </c:pt>
                <c:pt idx="244">
                  <c:v>1130</c:v>
                </c:pt>
                <c:pt idx="245">
                  <c:v>1059</c:v>
                </c:pt>
                <c:pt idx="246">
                  <c:v>996</c:v>
                </c:pt>
                <c:pt idx="247" formatCode="General">
                  <c:v>922</c:v>
                </c:pt>
                <c:pt idx="248" formatCode="General">
                  <c:v>855</c:v>
                </c:pt>
                <c:pt idx="249" formatCode="General">
                  <c:v>813</c:v>
                </c:pt>
                <c:pt idx="250" formatCode="General">
                  <c:v>818</c:v>
                </c:pt>
                <c:pt idx="251" formatCode="General">
                  <c:v>778</c:v>
                </c:pt>
                <c:pt idx="252" formatCode="General">
                  <c:v>728</c:v>
                </c:pt>
                <c:pt idx="253" formatCode="General">
                  <c:v>656</c:v>
                </c:pt>
                <c:pt idx="254" formatCode="General">
                  <c:v>633</c:v>
                </c:pt>
                <c:pt idx="255" formatCode="General">
                  <c:v>6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88F-4362-B4A6-9E19C601B0A9}"/>
                </c:ext>
              </c:extLst>
            </c:dLbl>
            <c:dLbl>
              <c:idx val="242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  <a:r>
                      <a:rPr lang="en-US" baseline="0" dirty="0"/>
                      <a:t> 34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88F-4362-B4A6-9E19C601B0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B$2:$B$257</c:f>
              <c:numCache>
                <c:formatCode>#,##0</c:formatCode>
                <c:ptCount val="256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C$2:$C$257</c:f>
              <c:numCache>
                <c:formatCode>#,##0</c:formatCode>
                <c:ptCount val="25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D$2:$D$257</c:f>
              <c:numCache>
                <c:formatCode>#,##0</c:formatCode>
                <c:ptCount val="25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6</c:v>
                </c:pt>
                <c:pt idx="245" formatCode="General">
                  <c:v>17</c:v>
                </c:pt>
                <c:pt idx="246" formatCode="General">
                  <c:v>18</c:v>
                </c:pt>
                <c:pt idx="247" formatCode="General">
                  <c:v>19</c:v>
                </c:pt>
                <c:pt idx="248" formatCode="General">
                  <c:v>16</c:v>
                </c:pt>
                <c:pt idx="249" formatCode="General">
                  <c:v>14</c:v>
                </c:pt>
                <c:pt idx="250" formatCode="General">
                  <c:v>13</c:v>
                </c:pt>
                <c:pt idx="251" formatCode="General">
                  <c:v>13</c:v>
                </c:pt>
                <c:pt idx="252" formatCode="General">
                  <c:v>13</c:v>
                </c:pt>
                <c:pt idx="253" formatCode="General">
                  <c:v>12</c:v>
                </c:pt>
                <c:pt idx="254" formatCode="General">
                  <c:v>12</c:v>
                </c:pt>
                <c:pt idx="255" formatCode="General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layout>
                <c:manualLayout>
                  <c:x val="3.7015136430523427E-2"/>
                  <c:y val="-3.143399850361437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B$2:$B$257</c:f>
              <c:numCache>
                <c:formatCode>#,##0</c:formatCode>
                <c:ptCount val="256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m/d/yyyy">
                  <c:v>49</c:v>
                </c:pt>
                <c:pt idx="244" formatCode="m/d/yyyy">
                  <c:v>48</c:v>
                </c:pt>
                <c:pt idx="245" formatCode="m/d/yyyy">
                  <c:v>51</c:v>
                </c:pt>
                <c:pt idx="246" formatCode="m/d/yyyy">
                  <c:v>48</c:v>
                </c:pt>
                <c:pt idx="247" formatCode="m/d/yyyy">
                  <c:v>50</c:v>
                </c:pt>
                <c:pt idx="248" formatCode="m/d/yyyy">
                  <c:v>52</c:v>
                </c:pt>
                <c:pt idx="249" formatCode="m/d/yyyy">
                  <c:v>51</c:v>
                </c:pt>
                <c:pt idx="250" formatCode="m/d/yyyy">
                  <c:v>50</c:v>
                </c:pt>
                <c:pt idx="251" formatCode="m/d/yyyy">
                  <c:v>52</c:v>
                </c:pt>
                <c:pt idx="252" formatCode="m/d/yyyy">
                  <c:v>54</c:v>
                </c:pt>
                <c:pt idx="253" formatCode="m/d/yyyy">
                  <c:v>54</c:v>
                </c:pt>
                <c:pt idx="254" formatCode="m/d/yyyy">
                  <c:v>56</c:v>
                </c:pt>
                <c:pt idx="255" formatCode="m/d/yyyy">
                  <c:v>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C$2:$C$257</c:f>
              <c:numCache>
                <c:formatCode>#,##0</c:formatCode>
                <c:ptCount val="25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D$2:$D$257</c:f>
              <c:numCache>
                <c:formatCode>#,##0</c:formatCode>
                <c:ptCount val="256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7</c:v>
                </c:pt>
                <c:pt idx="183">
                  <c:v>1624</c:v>
                </c:pt>
                <c:pt idx="184">
                  <c:v>1651</c:v>
                </c:pt>
                <c:pt idx="185">
                  <c:v>1671</c:v>
                </c:pt>
                <c:pt idx="186">
                  <c:v>1673</c:v>
                </c:pt>
                <c:pt idx="187">
                  <c:v>1676</c:v>
                </c:pt>
                <c:pt idx="188">
                  <c:v>1770</c:v>
                </c:pt>
                <c:pt idx="189">
                  <c:v>1798</c:v>
                </c:pt>
                <c:pt idx="190">
                  <c:v>1827</c:v>
                </c:pt>
                <c:pt idx="191">
                  <c:v>1817</c:v>
                </c:pt>
                <c:pt idx="192">
                  <c:v>1829</c:v>
                </c:pt>
                <c:pt idx="193">
                  <c:v>1778</c:v>
                </c:pt>
                <c:pt idx="194">
                  <c:v>1825</c:v>
                </c:pt>
                <c:pt idx="195">
                  <c:v>1882</c:v>
                </c:pt>
                <c:pt idx="196">
                  <c:v>1891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2</c:v>
                </c:pt>
                <c:pt idx="208">
                  <c:v>1652</c:v>
                </c:pt>
                <c:pt idx="209">
                  <c:v>1662</c:v>
                </c:pt>
                <c:pt idx="210">
                  <c:v>1613</c:v>
                </c:pt>
                <c:pt idx="211">
                  <c:v>1553</c:v>
                </c:pt>
                <c:pt idx="212">
                  <c:v>1505</c:v>
                </c:pt>
                <c:pt idx="213">
                  <c:v>1424</c:v>
                </c:pt>
                <c:pt idx="214">
                  <c:v>1401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2</c:v>
                </c:pt>
                <c:pt idx="219">
                  <c:v>1315</c:v>
                </c:pt>
                <c:pt idx="220">
                  <c:v>1238</c:v>
                </c:pt>
                <c:pt idx="221">
                  <c:v>1220</c:v>
                </c:pt>
                <c:pt idx="222">
                  <c:v>1202</c:v>
                </c:pt>
                <c:pt idx="223">
                  <c:v>1188</c:v>
                </c:pt>
                <c:pt idx="224">
                  <c:v>1159</c:v>
                </c:pt>
                <c:pt idx="225">
                  <c:v>1115</c:v>
                </c:pt>
                <c:pt idx="226">
                  <c:v>1037</c:v>
                </c:pt>
                <c:pt idx="227">
                  <c:v>1015</c:v>
                </c:pt>
                <c:pt idx="228">
                  <c:v>975</c:v>
                </c:pt>
                <c:pt idx="229">
                  <c:v>977</c:v>
                </c:pt>
                <c:pt idx="230">
                  <c:v>995</c:v>
                </c:pt>
                <c:pt idx="231">
                  <c:v>944</c:v>
                </c:pt>
                <c:pt idx="232">
                  <c:v>909</c:v>
                </c:pt>
                <c:pt idx="233">
                  <c:v>835</c:v>
                </c:pt>
                <c:pt idx="234">
                  <c:v>788</c:v>
                </c:pt>
                <c:pt idx="235">
                  <c:v>752</c:v>
                </c:pt>
                <c:pt idx="236">
                  <c:v>762</c:v>
                </c:pt>
                <c:pt idx="237">
                  <c:v>740</c:v>
                </c:pt>
                <c:pt idx="238">
                  <c:v>715</c:v>
                </c:pt>
                <c:pt idx="239">
                  <c:v>687</c:v>
                </c:pt>
                <c:pt idx="240">
                  <c:v>638</c:v>
                </c:pt>
                <c:pt idx="241">
                  <c:v>579</c:v>
                </c:pt>
                <c:pt idx="242">
                  <c:v>557</c:v>
                </c:pt>
                <c:pt idx="243" formatCode="General">
                  <c:v>564</c:v>
                </c:pt>
                <c:pt idx="244" formatCode="General">
                  <c:v>570</c:v>
                </c:pt>
                <c:pt idx="245" formatCode="General">
                  <c:v>550</c:v>
                </c:pt>
                <c:pt idx="246" formatCode="General">
                  <c:v>507</c:v>
                </c:pt>
                <c:pt idx="247" formatCode="General">
                  <c:v>467</c:v>
                </c:pt>
                <c:pt idx="248" formatCode="General">
                  <c:v>444</c:v>
                </c:pt>
                <c:pt idx="249" formatCode="General">
                  <c:v>416</c:v>
                </c:pt>
                <c:pt idx="250" formatCode="General">
                  <c:v>424</c:v>
                </c:pt>
                <c:pt idx="251" formatCode="General">
                  <c:v>428</c:v>
                </c:pt>
                <c:pt idx="252" formatCode="General">
                  <c:v>406</c:v>
                </c:pt>
                <c:pt idx="253" formatCode="General">
                  <c:v>377</c:v>
                </c:pt>
                <c:pt idx="254" formatCode="General">
                  <c:v>370</c:v>
                </c:pt>
                <c:pt idx="255" formatCode="General">
                  <c:v>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60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B$2:$B$257</c:f>
              <c:numCache>
                <c:formatCode>#,##0</c:formatCode>
                <c:ptCount val="256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57</c:f>
              <c:numCache>
                <c:formatCode>m/d/yyyy</c:formatCode>
                <c:ptCount val="25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</c:numCache>
            </c:numRef>
          </c:cat>
          <c:val>
            <c:numRef>
              <c:f>Sheet1!$C$2:$C$257</c:f>
              <c:numCache>
                <c:formatCode>#,##0</c:formatCode>
                <c:ptCount val="25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5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15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66149679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15598922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06029017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36542535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31949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6829056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5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92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Talábová Adriana Bc.</cp:lastModifiedBy>
  <cp:revision>671</cp:revision>
  <dcterms:created xsi:type="dcterms:W3CDTF">2020-08-08T14:25:07Z</dcterms:created>
  <dcterms:modified xsi:type="dcterms:W3CDTF">2021-05-15T03:26:50Z</dcterms:modified>
</cp:coreProperties>
</file>